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2063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34627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6608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650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840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362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707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2664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950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22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631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61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34913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600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428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316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87187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064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5420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3785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2611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8275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2d034227b1578d567f1fd325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01207A4D-7F79-4BDC-8411-D9BC989765D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5471881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4" y="1667099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000"/>
              <a:t>Moins de temps d'arrêt, davantage de productivité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50789"/>
            <a:ext cx="7539038" cy="288925"/>
          </a:xfrm>
        </p:spPr>
        <p:txBody>
          <a:bodyPr/>
          <a:lstStyle/>
          <a:p>
            <a:r>
              <a:rPr lang="fr-FR" sz="1800"/>
              <a:t>Nouveau convoyeur d’accumulation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Efficacité,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Palettiseurs / Dépalettiseu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</a:t>
            </a: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EOL022</a:t>
            </a:r>
            <a:endParaRPr kumimoji="0" lang="fr-F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400241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aintenanc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Une chaîne plus résistante vient remplacer l’ancien système à rouleaux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Frictions minimales et moins de pression dans l’accumulation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aintenance du convoyeur extrêmement réduite et simplifiée.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Les guides de dosage seront dorénavant déverrouillés pour éviter tout risque d’alimentation non synchronisée des pac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Flexibilité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Technologie adaptée pour les produits ayant un fond pétaloïde ou irrégulier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Réglage plus rapide et répétable des guides (système de volant installé de série ou automatique en option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Productivité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Fréquence réduite de l’alarme de la courroie de dosage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Une fiabilité fonctionnelle accrue. Système moins sensible à la qualité des packs et aux faux arrêts. Un fonctionnement silencieu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Le contrôle de l’alimentation des packs passe de la courroie de dosage au convoyeur d’accumulation. </a:t>
            </a:r>
            <a:r>
              <a:rPr kumimoji="0" lang="fr-FR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Les cellules de sécurité destinées à  détecter les packs à l’envers sont installées dans le convoyeur d’accumulation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3D75CD5-235E-4516-A8E5-2141CEBCE51F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447" y="4297407"/>
            <a:ext cx="2311400" cy="1239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858C580-A195-4604-B7AB-0BDFF46B5944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972" y="2768004"/>
            <a:ext cx="356235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30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0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oins de temps d'arrêt, davantage de productiv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2</cp:revision>
  <cp:lastPrinted>2017-09-01T14:01:41Z</cp:lastPrinted>
  <dcterms:created xsi:type="dcterms:W3CDTF">2017-07-10T14:51:51Z</dcterms:created>
  <dcterms:modified xsi:type="dcterms:W3CDTF">2019-06-26T13:4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7:23.4683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